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44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6890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91838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330839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83452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8368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048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16637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9923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05167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97585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9978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830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8 July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44655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4493278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72760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30A8CE32-E3E5-40B7-B631-13AF916692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30A8CE32-E3E5-40B7-B631-13AF916692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17E170-7CEB-440A-943C-1E03678B1948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919069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28D42760-A8C4-47D6-9CEA-D7BA0EA39985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8. Juli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C1369-72F8-4CD9-8750-170A89B0871C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A69ED0C3-2E19-403B-A0DA-A3A4816839A4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BA780E98-72C6-4930-9038-661D7A62C9B6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B1B75DEA-968B-4272-AF3C-9EE45FFE3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C281DD8-796B-4D74-84D1-C99978CBFA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C99D6BC-DA3E-44C2-8D9B-A36B924F70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3B01CEE-8BF1-4DB4-BE98-237110B8053F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CE47C79F-A49D-4D47-87FF-F501D91167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CE47C79F-A49D-4D47-87FF-F501D91167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242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4330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62353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38624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3927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6291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21040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8343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8 July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B3832CF-E314-4291-BC11-01CEF8E7EFB1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7712495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9" y="503364"/>
            <a:ext cx="8037489" cy="1018014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Asegure la higiene de las preformas y del producto final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696861"/>
            <a:ext cx="7833296" cy="329887"/>
          </a:xfrm>
        </p:spPr>
        <p:txBody>
          <a:bodyPr/>
          <a:lstStyle/>
          <a:p>
            <a:r>
              <a:rPr lang="fr-FR" altLang="fr-FR" sz="1876" dirty="0"/>
              <a:t>Módulo de desempolvado de las preformas</a:t>
            </a:r>
            <a:endParaRPr lang="es-ES" altLang="zh-CN" sz="1876" dirty="0">
              <a:solidFill>
                <a:srgbClr val="E64B00"/>
              </a:solidFill>
              <a:ea typeface="宋体" panose="02010600030101010101" pitchFamily="2" charset="-122"/>
            </a:endParaRPr>
          </a:p>
          <a:p>
            <a:endParaRPr lang="es-ES" altLang="zh-CN" dirty="0"/>
          </a:p>
          <a:p>
            <a:endParaRPr lang="es-ES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2"/>
            <a:ext cx="4084114" cy="367856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limina las partículas y el polvo de las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preformas</a:t>
            </a:r>
            <a:endParaRPr lang="en-U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altLang="zh-CN" sz="1323" b="0" kern="0" dirty="0">
                <a:solidFill>
                  <a:srgbClr val="000000"/>
                </a:solidFill>
              </a:rPr>
              <a:t>Polvo de PET eliminado hasta 100% (mini 97%)</a:t>
            </a:r>
            <a:endParaRPr lang="es-ES" altLang="zh-CN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20946" y="2471501"/>
            <a:ext cx="4014366" cy="36785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ste módulo retira, mediante un flujo de aire filtrado, las partículas sólidas que puedan acumularse en el interior de las preformas.</a:t>
            </a:r>
          </a:p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s-ES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8" y="6238027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Valor: calidad del </a:t>
            </a:r>
            <a:r>
              <a:rPr lang="en-GB" altLang="fr-FR" sz="882" b="0" dirty="0" err="1">
                <a:solidFill>
                  <a:srgbClr val="000000"/>
                </a:solidFill>
              </a:rPr>
              <a:t>producto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Equipo: </a:t>
            </a:r>
            <a:r>
              <a:rPr lang="en-GB" altLang="fr-FR" sz="882" b="0" dirty="0" err="1">
                <a:solidFill>
                  <a:srgbClr val="000000"/>
                </a:solidFill>
              </a:rPr>
              <a:t>sopladoras</a:t>
            </a:r>
            <a:r>
              <a:rPr lang="en-GB" altLang="fr-FR" sz="882" b="0">
                <a:solidFill>
                  <a:srgbClr val="000000"/>
                </a:solidFill>
              </a:rPr>
              <a:t> Universal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Código de catálogo: 1050</a:t>
            </a:r>
          </a:p>
        </p:txBody>
      </p:sp>
      <p:pic>
        <p:nvPicPr>
          <p:cNvPr id="17" name="Image 1">
            <a:extLst>
              <a:ext uri="{FF2B5EF4-FFF2-40B4-BE49-F238E27FC236}">
                <a16:creationId xmlns:a16="http://schemas.microsoft.com/office/drawing/2014/main" id="{17E8F4B2-5271-49FA-8629-9EC0A4C3DD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9330" y="4606369"/>
            <a:ext cx="1477993" cy="1490275"/>
          </a:xfrm>
          <a:prstGeom prst="rect">
            <a:avLst/>
          </a:prstGeom>
        </p:spPr>
      </p:pic>
      <p:pic>
        <p:nvPicPr>
          <p:cNvPr id="18" name="Image 2">
            <a:extLst>
              <a:ext uri="{FF2B5EF4-FFF2-40B4-BE49-F238E27FC236}">
                <a16:creationId xmlns:a16="http://schemas.microsoft.com/office/drawing/2014/main" id="{112BBDEC-162D-4EB8-92B9-D5DD3ACBB0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3196" y="4064004"/>
            <a:ext cx="1767662" cy="1448646"/>
          </a:xfrm>
          <a:prstGeom prst="rect">
            <a:avLst/>
          </a:prstGeom>
        </p:spPr>
      </p:pic>
      <p:sp>
        <p:nvSpPr>
          <p:cNvPr id="11" name="Rechteck 3">
            <a:extLst>
              <a:ext uri="{FF2B5EF4-FFF2-40B4-BE49-F238E27FC236}">
                <a16:creationId xmlns:a16="http://schemas.microsoft.com/office/drawing/2014/main" id="{40CDF323-35D5-42F9-B840-28249279883C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FF66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 charset="0"/>
              </a:rPr>
              <a:t>VALOR Y VENTAJA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C048673-0C52-42BC-929E-A780770EDC2F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E64B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cs typeface="Arial" charset="0"/>
              </a:rPr>
              <a:t>DESCRIPCIÓN</a:t>
            </a:r>
            <a:endParaRPr lang="fr-FR" altLang="de-DE" sz="1544" b="0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13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</TotalTime>
  <Pages>1</Pages>
  <Words>78</Words>
  <Application>Microsoft Office PowerPoint</Application>
  <PresentationFormat>Custom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ＭＳ Ｐゴシック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Asegure la higiene de las preformas y del producto final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6</cp:revision>
  <cp:lastPrinted>2016-08-02T08:13:06Z</cp:lastPrinted>
  <dcterms:created xsi:type="dcterms:W3CDTF">2009-07-10T13:59:45Z</dcterms:created>
  <dcterms:modified xsi:type="dcterms:W3CDTF">2020-07-08T15:1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7-08T14:52:31.593381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30T13:57:25.4296996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30T13:57:25.4296996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